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3"/>
  </p:notesMasterIdLst>
  <p:sldIdLst>
    <p:sldId id="411" r:id="rId2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037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A89F6067-A03D-42CE-ACA7-747F066227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F98050C-0535-4222-8D19-32C0B383EF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75E6EF9-C5FD-48AC-938C-DA0FCA9AFCE5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2943826-BD6A-47AD-8068-F395F5B11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20" name="TPandFilters">
            <a:extLst>
              <a:ext uri="{FF2B5EF4-FFF2-40B4-BE49-F238E27FC236}">
                <a16:creationId xmlns:a16="http://schemas.microsoft.com/office/drawing/2014/main" id="{B5AF934D-771F-418C-B520-D5D89F36C745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D7A5C46-5298-4E20-BBC6-ECA349C0B9B5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F842E8C-B5AA-4644-AF05-A5A237418B3E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5A85DD9-F4C7-4159-8A8A-013659EC0800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EBD67E6-2868-476F-B536-12F79EBB75C0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55DFBD3-05A5-4DDE-A523-A27D5F17F65B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4267D57F-826A-491F-97C2-FBFF2B4F9C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8" name="Picture 2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525C54F-F994-4C27-A7C8-EB0F84ACBE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D4437BB-F400-4310-894B-76CE56C13BB8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471487" y="761994"/>
            <a:ext cx="11214488" cy="5149543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588811"/>
              </p:ext>
            </p:extLst>
          </p:nvPr>
        </p:nvGraphicFramePr>
        <p:xfrm>
          <a:off x="576817" y="782841"/>
          <a:ext cx="11109159" cy="5099346"/>
        </p:xfrm>
        <a:graphic>
          <a:graphicData uri="http://schemas.openxmlformats.org/drawingml/2006/table">
            <a:tbl>
              <a:tblPr/>
              <a:tblGrid>
                <a:gridCol w="4324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771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97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997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3580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-Wal-Mart Supercente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447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8477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847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847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847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847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2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9512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8477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2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847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 Ske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26895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2]</a:t>
                      </a:r>
                    </a:p>
                    <a:p>
                      <a:pPr marL="169863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*show high-skew motivation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Fuel For Car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se Pharmacy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Advantage of Good Coupon Poli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297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12578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3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 19-34, 25-34, 3, 4, 5+ people in the HH, AA, Hispanic, Rural, Social Shoppers, Errand Runn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: 65-75, 25-34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: Np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: 2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leasure Shopp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5593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8477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magery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E/Heat Food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847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arbonated Soft Drink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847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ill Non-Alcoholic Beverage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471488" y="17996"/>
            <a:ext cx="11720512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053507" y="158650"/>
            <a:ext cx="9764018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-Wal-Mart Supercenter</a:t>
            </a:r>
          </a:p>
        </p:txBody>
      </p:sp>
      <p:sp>
        <p:nvSpPr>
          <p:cNvPr id="14" name="TextBox 19"/>
          <p:cNvSpPr txBox="1"/>
          <p:nvPr/>
        </p:nvSpPr>
        <p:spPr>
          <a:xfrm>
            <a:off x="5487400" y="5980729"/>
            <a:ext cx="6683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1] Stat Test vs Share of Monthly+ Urban-Wal-Mart Supercenter Shopper, [2] Stat Test vs Total Trips of Urban-Wal-Mart Supercenter,</a:t>
            </a:r>
          </a:p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3] Stat Test vs Total Monthly+ Urban-Wal-Mart Supercenter Shopper</a:t>
            </a: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28209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33</TotalTime>
  <Words>284</Words>
  <Application>Microsoft Office PowerPoint</Application>
  <PresentationFormat>Widescreen</PresentationFormat>
  <Paragraphs>5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25</cp:revision>
  <cp:lastPrinted>2015-12-04T15:56:47Z</cp:lastPrinted>
  <dcterms:created xsi:type="dcterms:W3CDTF">2014-05-21T13:43:49Z</dcterms:created>
  <dcterms:modified xsi:type="dcterms:W3CDTF">2018-10-22T09:5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